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5.xml" ContentType="application/vnd.openxmlformats-officedocument.themeOverrid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864" y="-1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chris.hui\Downloads\SW%20Corp%20Economics%20Mentor%20Answer%20Key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lu\Documents\Contract%20Work%20Engagements\Springboard%20Work\Content\Module%202\Financial%20Rubric\SW%20Corp%20Student%20Reference%20SB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olling Year-to-Date</a:t>
            </a:r>
            <a:r>
              <a:rPr lang="en-AU" b="1" baseline="0" dirty="0"/>
              <a:t> Cost to Produce per Litre ($/ML) </a:t>
            </a:r>
          </a:p>
          <a:p>
            <a:pPr algn="l">
              <a:defRPr/>
            </a:pPr>
            <a:r>
              <a:rPr lang="en-AU" b="1" baseline="0" dirty="0"/>
              <a:t>2013-Jul to 2014-Jun</a:t>
            </a:r>
            <a:endParaRPr lang="en-AU" b="1" dirty="0"/>
          </a:p>
        </c:rich>
      </c:tx>
      <c:layout>
        <c:manualLayout>
          <c:xMode val="edge"/>
          <c:yMode val="edge"/>
          <c:x val="8.026278818198597E-2"/>
          <c:y val="7.45588406237267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C7-4F41-A75C-49D575F1777F}"/>
            </c:ext>
          </c:extLst>
        </c:ser>
        <c:ser>
          <c:idx val="1"/>
          <c:order val="1"/>
          <c:tx>
            <c:v/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Actuals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3.6775905831184709E-2"/>
                  <c:y val="-7.2558080554075949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9C7-4F41-A75C-49D575F1777F}"/>
                </c:ext>
              </c:extLst>
            </c:dLbl>
            <c:dLbl>
              <c:idx val="11"/>
              <c:layout>
                <c:manualLayout>
                  <c:x val="-2.6028635136459127E-2"/>
                  <c:y val="-7.9404186801794556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09C7-4F41-A75C-49D575F1777F}"/>
                </c:ext>
              </c:extLst>
            </c:dLbl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C7-4F41-A75C-49D575F1777F}"/>
            </c:ext>
          </c:extLst>
        </c:ser>
        <c:ser>
          <c:idx val="3"/>
          <c:order val="3"/>
          <c:tx>
            <c:v>Bud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9388810144086251E-2"/>
                  <c:y val="8.498474968385877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9C7-4F41-A75C-49D575F1777F}"/>
                </c:ext>
              </c:extLst>
            </c:dLbl>
            <c:dLbl>
              <c:idx val="11"/>
              <c:layout>
                <c:manualLayout>
                  <c:x val="-3.3640359951159833E-2"/>
                  <c:y val="-2.436821656427387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9C7-4F41-A75C-49D575F1777F}"/>
                </c:ext>
              </c:extLst>
            </c:dLbl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L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/>
              <a:t>$/ML</a:t>
            </a:r>
            <a:r>
              <a:rPr lang="en-AU" baseline="0"/>
              <a:t> versus Market Price</a:t>
            </a:r>
            <a:endParaRPr lang="en-AU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05667662504607"/>
          <c:y val="0.27745307191458196"/>
          <c:w val="0.79822937911771619"/>
          <c:h val="0.69261528236554715"/>
        </c:manualLayout>
      </c:layout>
      <c:areaChart>
        <c:grouping val="standard"/>
        <c:varyColors val="0"/>
        <c:ser>
          <c:idx val="1"/>
          <c:order val="0"/>
          <c:tx>
            <c:strRef>
              <c:f>'Pseudo Cost Curve Template'!$B$14</c:f>
              <c:strCache>
                <c:ptCount val="1"/>
                <c:pt idx="0">
                  <c:v>Unit A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2110245995786837E-2"/>
                  <c:y val="-0.13635089714506982"/>
                </c:manualLayout>
              </c:layout>
              <c:numFmt formatCode="&quot;$&quot;0.0\ &quot;M/L&quot;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A8-41F2-AE13-42CA711484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B$15:$B$25</c:f>
              <c:numCache>
                <c:formatCode>"$"#,##0.00_);[Red]\("$"#,##0.00\)</c:formatCode>
                <c:ptCount val="11"/>
                <c:pt idx="0">
                  <c:v>27.5</c:v>
                </c:pt>
                <c:pt idx="1">
                  <c:v>27.5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5A8-41F2-AE13-42CA711484A9}"/>
            </c:ext>
          </c:extLst>
        </c:ser>
        <c:ser>
          <c:idx val="2"/>
          <c:order val="1"/>
          <c:tx>
            <c:strRef>
              <c:f>'Pseudo Cost Curve Template'!$C$14</c:f>
              <c:strCache>
                <c:ptCount val="1"/>
                <c:pt idx="0">
                  <c:v>Unit B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5A8-41F2-AE13-42CA711484A9}"/>
                </c:ext>
              </c:extLst>
            </c:dLbl>
            <c:dLbl>
              <c:idx val="3"/>
              <c:layout>
                <c:manualLayout>
                  <c:x val="5.4528339662460054E-2"/>
                  <c:y val="-0.19167886669952089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5A8-41F2-AE13-42CA711484A9}"/>
                </c:ext>
              </c:extLst>
            </c:dLbl>
            <c:numFmt formatCode="&quot;$&quot;0.0\ &quot;M/L&quot;" sourceLinked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C$15:$C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_);[Red]\(&quot;$&quot;#,##0.00\)">
                  <c:v>52.31</c:v>
                </c:pt>
                <c:pt idx="4" formatCode="&quot;$&quot;#,##0.00_);[Red]\(&quot;$&quot;#,##0.00\)">
                  <c:v>52.3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5A8-41F2-AE13-42CA711484A9}"/>
            </c:ext>
          </c:extLst>
        </c:ser>
        <c:ser>
          <c:idx val="3"/>
          <c:order val="2"/>
          <c:tx>
            <c:strRef>
              <c:f>'Pseudo Cost Curve Template'!$D$14</c:f>
              <c:strCache>
                <c:ptCount val="1"/>
                <c:pt idx="0">
                  <c:v>Unit C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5A8-41F2-AE13-42CA711484A9}"/>
                </c:ext>
              </c:extLst>
            </c:dLbl>
            <c:dLbl>
              <c:idx val="6"/>
              <c:layout>
                <c:manualLayout>
                  <c:x val="0.12970502988802374"/>
                  <c:y val="-0.24022475759547687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D$15:$D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_);[Red]\(&quot;$&quot;#,##0.00\)">
                  <c:v>70.05</c:v>
                </c:pt>
                <c:pt idx="7" formatCode="&quot;$&quot;#,##0.00_);[Red]\(&quot;$&quot;#,##0.00\)">
                  <c:v>70.0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A5A8-41F2-AE13-42CA711484A9}"/>
            </c:ext>
          </c:extLst>
        </c:ser>
        <c:ser>
          <c:idx val="4"/>
          <c:order val="3"/>
          <c:tx>
            <c:strRef>
              <c:f>'Pseudo Cost Curve Template'!$E$14</c:f>
              <c:strCache>
                <c:ptCount val="1"/>
                <c:pt idx="0">
                  <c:v>Unit D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A5A8-41F2-AE13-42CA711484A9}"/>
                </c:ext>
              </c:extLst>
            </c:dLbl>
            <c:dLbl>
              <c:idx val="9"/>
              <c:layout>
                <c:manualLayout>
                  <c:x val="0.21945432977461438"/>
                  <c:y val="-0.35839135033004133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D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E$15:$E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_);[Red]\(&quot;$&quot;#,##0.00\)">
                  <c:v>98.81</c:v>
                </c:pt>
                <c:pt idx="10" formatCode="&quot;$&quot;#,##0.00_);[Red]\(&quot;$&quot;#,##0.00\)">
                  <c:v>98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tx>
            <c:v>Market Price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Pseudo Cost Curve Template'!$F$15:$F$25</c:f>
              <c:numCache>
                <c:formatCode>"$"#,##0.00_);[Red]\("$"#,##0.00\)</c:formatCode>
                <c:ptCount val="11"/>
                <c:pt idx="0">
                  <c:v>65.5</c:v>
                </c:pt>
                <c:pt idx="1">
                  <c:v>65.5</c:v>
                </c:pt>
                <c:pt idx="2">
                  <c:v>65.5</c:v>
                </c:pt>
                <c:pt idx="3">
                  <c:v>65.5</c:v>
                </c:pt>
                <c:pt idx="4">
                  <c:v>65.5</c:v>
                </c:pt>
                <c:pt idx="5">
                  <c:v>65.5</c:v>
                </c:pt>
                <c:pt idx="6">
                  <c:v>65.5</c:v>
                </c:pt>
                <c:pt idx="7">
                  <c:v>65.5</c:v>
                </c:pt>
                <c:pt idx="8">
                  <c:v>65.5</c:v>
                </c:pt>
                <c:pt idx="9">
                  <c:v>65.5</c:v>
                </c:pt>
                <c:pt idx="10">
                  <c:v>6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0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midCat"/>
      </c:valAx>
      <c:valAx>
        <c:axId val="448229256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</c:valAx>
      <c:catAx>
        <c:axId val="44822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Revenue Source A</c:v>
                </c:pt>
                <c:pt idx="1">
                  <c:v>Revenue Source B</c:v>
                </c:pt>
                <c:pt idx="2">
                  <c:v>Revenue Source C</c:v>
                </c:pt>
                <c:pt idx="3">
                  <c:v>Revenue Source D</c:v>
                </c:pt>
                <c:pt idx="4">
                  <c:v>Revenue Source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-2.5</c:v>
                </c:pt>
                <c:pt idx="1">
                  <c:v>-3.8999999999999986</c:v>
                </c:pt>
                <c:pt idx="2">
                  <c:v>-9.9999999999999645E-2</c:v>
                </c:pt>
                <c:pt idx="3">
                  <c:v>0.30000000000000004</c:v>
                </c:pt>
                <c:pt idx="4">
                  <c:v>0.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8D51-4324-8E2D-5B96B89F48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9</c:f>
              <c:strCache>
                <c:ptCount val="3"/>
                <c:pt idx="0">
                  <c:v>Production Cost A</c:v>
                </c:pt>
                <c:pt idx="1">
                  <c:v>Production Cost B</c:v>
                </c:pt>
                <c:pt idx="2">
                  <c:v>Production Cost C</c:v>
                </c:pt>
              </c:strCache>
            </c:strRef>
          </c:cat>
          <c:val>
            <c:numRef>
              <c:f>Sheet1!$D$7:$D$9</c:f>
              <c:numCache>
                <c:formatCode>General</c:formatCode>
                <c:ptCount val="3"/>
                <c:pt idx="0">
                  <c:v>0.60000000000000009</c:v>
                </c:pt>
                <c:pt idx="1">
                  <c:v>0.4</c:v>
                </c:pt>
                <c:pt idx="2">
                  <c:v>-0.1999999999999999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6DED-48D1-AF27-F8E823E9DA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3900853488395435E-2"/>
          <c:w val="0.94057624032210485"/>
          <c:h val="0.9707878457364055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0AD47"/>
            </a:solidFill>
            <a:ln>
              <a:noFill/>
            </a:ln>
            <a:effectLst/>
          </c:spPr>
          <c:invertIfNegative val="1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0:$A$17</c:f>
              <c:strCache>
                <c:ptCount val="8"/>
                <c:pt idx="0">
                  <c:v>Overhead A</c:v>
                </c:pt>
                <c:pt idx="1">
                  <c:v>Overhead B</c:v>
                </c:pt>
                <c:pt idx="2">
                  <c:v>Overhead C</c:v>
                </c:pt>
                <c:pt idx="3">
                  <c:v>Overhead D</c:v>
                </c:pt>
                <c:pt idx="4">
                  <c:v>Overhead E</c:v>
                </c:pt>
                <c:pt idx="5">
                  <c:v>Overhead F</c:v>
                </c:pt>
                <c:pt idx="6">
                  <c:v>Overhead G</c:v>
                </c:pt>
                <c:pt idx="7">
                  <c:v>EBITDA</c:v>
                </c:pt>
              </c:strCache>
            </c:strRef>
          </c:cat>
          <c:val>
            <c:numRef>
              <c:f>Sheet1!$D$10:$D$17</c:f>
              <c:numCache>
                <c:formatCode>General</c:formatCode>
                <c:ptCount val="8"/>
                <c:pt idx="0">
                  <c:v>-0.80000000000000071</c:v>
                </c:pt>
                <c:pt idx="1">
                  <c:v>-2.1999999999999993</c:v>
                </c:pt>
                <c:pt idx="2">
                  <c:v>-2</c:v>
                </c:pt>
                <c:pt idx="3">
                  <c:v>0.5</c:v>
                </c:pt>
                <c:pt idx="4">
                  <c:v>-0.19999999999999996</c:v>
                </c:pt>
                <c:pt idx="5">
                  <c:v>0.60000000000000009</c:v>
                </c:pt>
                <c:pt idx="6">
                  <c:v>0.20000000000000018</c:v>
                </c:pt>
                <c:pt idx="7">
                  <c:v>-8.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0-669E-4B42-9F88-B9853BB4A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25430648"/>
        <c:axId val="625433272"/>
      </c:barChart>
      <c:catAx>
        <c:axId val="62543064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25433272"/>
        <c:crosses val="autoZero"/>
        <c:auto val="1"/>
        <c:lblAlgn val="ctr"/>
        <c:lblOffset val="100"/>
        <c:noMultiLvlLbl val="0"/>
      </c:catAx>
      <c:valAx>
        <c:axId val="6254332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5430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evenue</a:t>
            </a:r>
            <a:r>
              <a:rPr lang="en-AU" b="1" baseline="0" dirty="0"/>
              <a:t> Actuals for All Units [July-13 to June-14]</a:t>
            </a:r>
            <a:endParaRPr lang="en-AU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COGS</a:t>
            </a:r>
            <a:r>
              <a:rPr lang="en-AU" b="1" baseline="0" dirty="0"/>
              <a:t> Actuals for All Units [July-13 to June-14]</a:t>
            </a:r>
            <a:endParaRPr lang="en-AU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baseline="0" dirty="0"/>
              <a:t>Operational Expenses Actuals for All Units [July-13 to June-14]</a:t>
            </a:r>
            <a:endParaRPr lang="en-AU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/>
              <a:t>Breaking</a:t>
            </a:r>
            <a:r>
              <a:rPr lang="en-AU" b="1" baseline="0"/>
              <a:t> down the Cost-to-Produce Variance</a:t>
            </a:r>
            <a:endParaRPr lang="en-AU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Budget $/ML</c:v>
          </c:tx>
          <c:spPr>
            <a:solidFill>
              <a:srgbClr val="DBDBDB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19-47C2-8DFA-12506BE60D1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19-47C2-8DFA-12506BE60D12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2:$C$2</c:f>
              <c:numCache>
                <c:formatCode>General</c:formatCode>
                <c:ptCount val="3"/>
                <c:pt idx="0" formatCode="&quot;$&quot;0.0\ &quot;/ML&quot;">
                  <c:v>35.5</c:v>
                </c:pt>
                <c:pt idx="1">
                  <c:v>35.5</c:v>
                </c:pt>
                <c:pt idx="2" formatCode="&quot;$&quot;#,##0.00">
                  <c:v>4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19-47C2-8DFA-12506BE60D12}"/>
            </c:ext>
          </c:extLst>
        </c:ser>
        <c:ser>
          <c:idx val="1"/>
          <c:order val="1"/>
          <c:tx>
            <c:v>Variance $/ML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3858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19-47C2-8DFA-12506BE60D12}"/>
              </c:ext>
            </c:extLst>
          </c:dPt>
          <c:dPt>
            <c:idx val="1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319-47C2-8DFA-12506BE60D12}"/>
              </c:ext>
            </c:extLst>
          </c:dPt>
          <c:dPt>
            <c:idx val="2"/>
            <c:invertIfNegative val="0"/>
            <c:bubble3D val="0"/>
            <c:spPr>
              <a:solidFill>
                <a:srgbClr val="DBDB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319-47C2-8DFA-12506BE60D12}"/>
              </c:ext>
            </c:extLst>
          </c:dPt>
          <c:dLbls>
            <c:dLbl>
              <c:idx val="0"/>
              <c:layout>
                <c:manualLayout>
                  <c:x val="0"/>
                  <c:y val="-4.279892620751812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D319-47C2-8DFA-12506BE60D12}"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D319-47C2-8DFA-12506BE60D12}"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3:$C$3</c:f>
              <c:numCache>
                <c:formatCode>"$"0.0\ "/ML"</c:formatCode>
                <c:ptCount val="3"/>
                <c:pt idx="0">
                  <c:v>2.8</c:v>
                </c:pt>
                <c:pt idx="1">
                  <c:v>5.8</c:v>
                </c:pt>
                <c:pt idx="2">
                  <c:v>2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319-47C2-8DFA-12506BE60D12}"/>
            </c:ext>
          </c:extLst>
        </c:ser>
        <c:ser>
          <c:idx val="2"/>
          <c:order val="2"/>
          <c:tx>
            <c:v>Variance $/ML</c:v>
          </c:tx>
          <c:spPr>
            <a:solidFill>
              <a:srgbClr val="F38585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3.56657718395983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D319-47C2-8DFA-12506BE60D12}"/>
                </c:ext>
              </c:extLst>
            </c:dLbl>
            <c:dLbl>
              <c:idx val="2"/>
              <c:layout>
                <c:manualLayout>
                  <c:x val="3.9019858035310205E-3"/>
                  <c:y val="-3.923234902355819E-2"/>
                </c:manualLayout>
              </c:layout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D319-47C2-8DFA-12506BE60D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C$1</c:f>
              <c:strCache>
                <c:ptCount val="3"/>
                <c:pt idx="0">
                  <c:v>Revenue ($/ML)</c:v>
                </c:pt>
                <c:pt idx="1">
                  <c:v>COGS ($/ML)</c:v>
                </c:pt>
                <c:pt idx="2">
                  <c:v>Operational Expenses ($/ML)</c:v>
                </c:pt>
              </c:strCache>
            </c:strRef>
          </c:cat>
          <c:val>
            <c:numRef>
              <c:f>Sheet1!$A$4:$C$4</c:f>
              <c:numCache>
                <c:formatCode>"$"0.0\ "/ML"</c:formatCode>
                <c:ptCount val="3"/>
                <c:pt idx="1">
                  <c:v>3.2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319-47C2-8DFA-12506BE60D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657512"/>
        <c:axId val="883661120"/>
      </c:barChart>
      <c:catAx>
        <c:axId val="883657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61120"/>
        <c:crosses val="autoZero"/>
        <c:auto val="1"/>
        <c:lblAlgn val="ctr"/>
        <c:lblOffset val="100"/>
        <c:noMultiLvlLbl val="0"/>
      </c:catAx>
      <c:valAx>
        <c:axId val="8836611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>
                    <a:latin typeface="Arial" panose="020B0604020202020204" pitchFamily="34" charset="0"/>
                    <a:cs typeface="Arial" panose="020B0604020202020204" pitchFamily="34" charset="0"/>
                  </a:rPr>
                  <a:t>Cost to Produce Per Mega-Litr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0.0\ &quot;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3657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Leverage EBIT slide, then flow into Revenue, COGS and Operational Expenses</a:t>
            </a:r>
            <a:endParaRPr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0" name="Google Shape;19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7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3" name="Google Shape;2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16" name="Google Shape;216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7" name="Google Shape;217;p4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Southern Water Corp – Executive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US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May 03 20202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</a:t>
            </a:r>
            <a:r>
              <a:rPr lang="en-US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1400" b="0" i="0" u="none" strike="noStrike" cap="none" dirty="0" err="1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hit</a:t>
            </a:r>
            <a:r>
              <a:rPr lang="en-US" sz="1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Bansa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Google Shape;49;p2"/>
          <p:cNvGraphicFramePr/>
          <p:nvPr/>
        </p:nvGraphicFramePr>
        <p:xfrm>
          <a:off x="0" y="959906"/>
          <a:ext cx="8961300" cy="511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r:id="rId5" imgW="1587" imgH="1587" progId="TCLayout.ActiveDocument.1">
                  <p:embed/>
                </p:oleObj>
              </mc:Choice>
              <mc:Fallback>
                <p:oleObj r:id="rId5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6184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&lt;What is noticeable about last year’s Cost-to-Produce vs. this year’s Cost-to-Produce? What does it say about company performance? How might this relate to EBIT?&gt;</a:t>
            </a:r>
            <a:endParaRPr dirty="0"/>
          </a:p>
        </p:txBody>
      </p:sp>
      <p:sp>
        <p:nvSpPr>
          <p:cNvPr id="52" name="Google Shape;52;p2"/>
          <p:cNvSpPr txBox="1"/>
          <p:nvPr/>
        </p:nvSpPr>
        <p:spPr>
          <a:xfrm>
            <a:off x="5088516" y="1234879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¹ 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XX 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2"/>
          <p:cNvSpPr txBox="1"/>
          <p:nvPr/>
        </p:nvSpPr>
        <p:spPr>
          <a:xfrm>
            <a:off x="5088517" y="147483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 ² 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XX M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2"/>
          <p:cNvSpPr txBox="1"/>
          <p:nvPr/>
        </p:nvSpPr>
        <p:spPr>
          <a:xfrm>
            <a:off x="5088517" y="1727073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XX / M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2"/>
          <p:cNvSpPr/>
          <p:nvPr/>
        </p:nvSpPr>
        <p:spPr>
          <a:xfrm>
            <a:off x="5160300" y="1162800"/>
            <a:ext cx="3629700" cy="944400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Trees in the Appendix for what Cost Centres / Cost Elements are included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</a:t>
            </a: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²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Water Production actuals have been sourced from the _____ tab in the _____ file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" name="Google Shape;58;p2"/>
          <p:cNvCxnSpPr>
            <a:stCxn id="55" idx="0"/>
            <a:endCxn id="55" idx="2"/>
          </p:cNvCxnSpPr>
          <p:nvPr/>
        </p:nvCxnSpPr>
        <p:spPr>
          <a:xfrm>
            <a:off x="6975150" y="1162800"/>
            <a:ext cx="0" cy="9444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9" name="Google Shape;59;p2"/>
          <p:cNvSpPr txBox="1"/>
          <p:nvPr/>
        </p:nvSpPr>
        <p:spPr>
          <a:xfrm>
            <a:off x="6878647" y="1224323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 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XX 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2"/>
          <p:cNvSpPr txBox="1"/>
          <p:nvPr/>
        </p:nvSpPr>
        <p:spPr>
          <a:xfrm>
            <a:off x="6878648" y="1464281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XX M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2"/>
          <p:cNvSpPr txBox="1"/>
          <p:nvPr/>
        </p:nvSpPr>
        <p:spPr>
          <a:xfrm>
            <a:off x="6878648" y="171651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XX / M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2"/>
          <p:cNvSpPr/>
          <p:nvPr/>
        </p:nvSpPr>
        <p:spPr>
          <a:xfrm>
            <a:off x="5160291" y="990113"/>
            <a:ext cx="641400" cy="217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2"/>
          <p:cNvSpPr/>
          <p:nvPr/>
        </p:nvSpPr>
        <p:spPr>
          <a:xfrm>
            <a:off x="6939252" y="959906"/>
            <a:ext cx="641444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2"/>
          <p:cNvSpPr txBox="1"/>
          <p:nvPr/>
        </p:nvSpPr>
        <p:spPr>
          <a:xfrm>
            <a:off x="764060" y="4495804"/>
            <a:ext cx="7837084" cy="1015663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erating Expen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st of Goods Sold 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2"/>
          <p:cNvSpPr/>
          <p:nvPr/>
        </p:nvSpPr>
        <p:spPr>
          <a:xfrm>
            <a:off x="8196549" y="2427047"/>
            <a:ext cx="683046" cy="179494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764059" y="4278632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/>
          <p:nvPr/>
        </p:nvSpPr>
        <p:spPr>
          <a:xfrm>
            <a:off x="174813" y="1266247"/>
            <a:ext cx="8586504" cy="4904927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400">
                <a:solidFill>
                  <a:srgbClr val="002060"/>
                </a:solidFill>
              </a:rPr>
              <a:t>&lt;Observing the cost-curve reveals that Units A through…&gt; Are there any differences between unit-economics when comparing 2013 data to 2014 data?</a:t>
            </a:r>
            <a:endParaRPr>
              <a:solidFill>
                <a:schemeClr val="accent6"/>
              </a:solidFill>
            </a:endParaRPr>
          </a:p>
        </p:txBody>
      </p:sp>
      <p:sp>
        <p:nvSpPr>
          <p:cNvPr id="75" name="Google Shape;75;p8"/>
          <p:cNvSpPr txBox="1"/>
          <p:nvPr/>
        </p:nvSpPr>
        <p:spPr>
          <a:xfrm>
            <a:off x="187468" y="970500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seudo Cost Curve Highlighting Cost to Produce versus Market Price</a:t>
            </a:r>
            <a:endParaRPr sz="1196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6" name="Google Shape;76;p8"/>
          <p:cNvGraphicFramePr/>
          <p:nvPr/>
        </p:nvGraphicFramePr>
        <p:xfrm>
          <a:off x="174813" y="1367795"/>
          <a:ext cx="8498036" cy="4087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7" name="Google Shape;77;p8"/>
          <p:cNvSpPr/>
          <p:nvPr/>
        </p:nvSpPr>
        <p:spPr>
          <a:xfrm>
            <a:off x="539451" y="6408800"/>
            <a:ext cx="325121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Open Water Market Data (2013 – 2015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78;p8"/>
          <p:cNvSpPr/>
          <p:nvPr/>
        </p:nvSpPr>
        <p:spPr>
          <a:xfrm>
            <a:off x="7067937" y="5622383"/>
            <a:ext cx="712913" cy="230045"/>
          </a:xfrm>
          <a:prstGeom prst="rect">
            <a:avLst/>
          </a:prstGeom>
          <a:solidFill>
            <a:srgbClr val="30539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8"/>
          <p:cNvSpPr/>
          <p:nvPr/>
        </p:nvSpPr>
        <p:spPr>
          <a:xfrm>
            <a:off x="1023325" y="5630348"/>
            <a:ext cx="712913" cy="230045"/>
          </a:xfrm>
          <a:prstGeom prst="rect">
            <a:avLst/>
          </a:prstGeom>
          <a:solidFill>
            <a:srgbClr val="BDC6E3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rgbClr val="1F3042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a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" name="Google Shape;80;p8"/>
          <p:cNvCxnSpPr/>
          <p:nvPr/>
        </p:nvCxnSpPr>
        <p:spPr>
          <a:xfrm>
            <a:off x="529732" y="5929991"/>
            <a:ext cx="8153160" cy="7814"/>
          </a:xfrm>
          <a:prstGeom prst="straightConnector1">
            <a:avLst/>
          </a:prstGeom>
          <a:noFill/>
          <a:ln w="38100" cap="flat" cmpd="sng">
            <a:solidFill>
              <a:srgbClr val="30539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81" name="Google Shape;81;p8"/>
          <p:cNvSpPr txBox="1"/>
          <p:nvPr/>
        </p:nvSpPr>
        <p:spPr>
          <a:xfrm>
            <a:off x="266050" y="2089425"/>
            <a:ext cx="6686700" cy="1773600"/>
          </a:xfrm>
          <a:prstGeom prst="rect">
            <a:avLst/>
          </a:prstGeom>
          <a:solidFill>
            <a:srgbClr val="FBC14E">
              <a:alpha val="4000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Cost-Curve slide</a:t>
            </a:r>
            <a:r>
              <a:rPr lang="en-US" sz="1100"/>
              <a:t> shows the Cost-to-Produce for both July 2013 – June 2014 alongside the July 2014 – June 2015 Cost-to-Produce figures alongside the respective weighted $/ML prices. 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recommendations you wish to provide regarding the economic dispatch of the units to be most cost effective with respect to the $/ML Price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Plot the Overall Cost Curve for July 2013-2014 through July 2014-2015.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Ensure that the Cost-Curve is arranged from Least Expensive to Most Expensive as per the Exemplar provided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alculate the $/ML Price for both 2013-2014 Data (provided) as well as the 2014-2015 $/ML Market Data (as per the Economics OWM Data) and plot this in the Cost Curve</a:t>
            </a:r>
            <a:endParaRPr sz="11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3"/>
          <p:cNvSpPr/>
          <p:nvPr/>
        </p:nvSpPr>
        <p:spPr>
          <a:xfrm>
            <a:off x="171475" y="976716"/>
            <a:ext cx="8422500" cy="5439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7525" tIns="43750" rIns="87525" bIns="437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endParaRPr sz="1075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3"/>
          <p:cNvSpPr/>
          <p:nvPr/>
        </p:nvSpPr>
        <p:spPr>
          <a:xfrm>
            <a:off x="187336" y="6592196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Source: Financial and operational data from Exemplar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9" name="Google Shape;89;p3"/>
          <p:cNvCxnSpPr/>
          <p:nvPr/>
        </p:nvCxnSpPr>
        <p:spPr>
          <a:xfrm>
            <a:off x="252614" y="1203898"/>
            <a:ext cx="7098721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3"/>
          <p:cNvSpPr/>
          <p:nvPr/>
        </p:nvSpPr>
        <p:spPr>
          <a:xfrm>
            <a:off x="7531294" y="720735"/>
            <a:ext cx="175309" cy="130317"/>
          </a:xfrm>
          <a:prstGeom prst="rect">
            <a:avLst/>
          </a:prstGeom>
          <a:solidFill>
            <a:srgbClr val="4F7E2C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"/>
          <p:cNvSpPr/>
          <p:nvPr/>
        </p:nvSpPr>
        <p:spPr>
          <a:xfrm>
            <a:off x="6459281" y="720735"/>
            <a:ext cx="175309" cy="130317"/>
          </a:xfrm>
          <a:prstGeom prst="rect">
            <a:avLst/>
          </a:prstGeom>
          <a:solidFill>
            <a:srgbClr val="F42F2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723"/>
              <a:buFont typeface="Arial"/>
              <a:buNone/>
            </a:pPr>
            <a:endParaRPr sz="1723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"/>
          <p:cNvSpPr/>
          <p:nvPr/>
        </p:nvSpPr>
        <p:spPr>
          <a:xfrm>
            <a:off x="7756249" y="717632"/>
            <a:ext cx="673305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osi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3"/>
          <p:cNvSpPr/>
          <p:nvPr/>
        </p:nvSpPr>
        <p:spPr>
          <a:xfrm>
            <a:off x="6684234" y="717632"/>
            <a:ext cx="747772" cy="148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77"/>
              <a:buFont typeface="Arial"/>
              <a:buNone/>
            </a:pPr>
            <a:r>
              <a:rPr lang="en-US" sz="977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Negative Var.</a:t>
            </a:r>
            <a:endParaRPr sz="977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p3"/>
          <p:cNvSpPr txBox="1"/>
          <p:nvPr/>
        </p:nvSpPr>
        <p:spPr>
          <a:xfrm>
            <a:off x="252612" y="1011901"/>
            <a:ext cx="7098721" cy="180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variances, </a:t>
            </a:r>
            <a:r>
              <a:rPr lang="en-US" sz="1173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5" name="Google Shape;95;p3"/>
          <p:cNvCxnSpPr/>
          <p:nvPr/>
        </p:nvCxnSpPr>
        <p:spPr>
          <a:xfrm>
            <a:off x="265941" y="4116085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6" name="Google Shape;96;p3"/>
          <p:cNvCxnSpPr/>
          <p:nvPr/>
        </p:nvCxnSpPr>
        <p:spPr>
          <a:xfrm>
            <a:off x="256803" y="3474159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7" name="Google Shape;97;p3"/>
          <p:cNvCxnSpPr/>
          <p:nvPr/>
        </p:nvCxnSpPr>
        <p:spPr>
          <a:xfrm>
            <a:off x="256803" y="4758010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98" name="Google Shape;98;p3"/>
          <p:cNvCxnSpPr/>
          <p:nvPr/>
        </p:nvCxnSpPr>
        <p:spPr>
          <a:xfrm>
            <a:off x="256803" y="572089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9" name="Google Shape;99;p3"/>
          <p:cNvCxnSpPr/>
          <p:nvPr/>
        </p:nvCxnSpPr>
        <p:spPr>
          <a:xfrm>
            <a:off x="256803" y="6041863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0" name="Google Shape;100;p3"/>
          <p:cNvCxnSpPr/>
          <p:nvPr/>
        </p:nvCxnSpPr>
        <p:spPr>
          <a:xfrm>
            <a:off x="256803" y="443704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1" name="Google Shape;101;p3"/>
          <p:cNvCxnSpPr/>
          <p:nvPr/>
        </p:nvCxnSpPr>
        <p:spPr>
          <a:xfrm>
            <a:off x="256803" y="1869346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2" name="Google Shape;102;p3"/>
          <p:cNvCxnSpPr/>
          <p:nvPr/>
        </p:nvCxnSpPr>
        <p:spPr>
          <a:xfrm>
            <a:off x="256803" y="1548384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3" name="Google Shape;103;p3"/>
          <p:cNvCxnSpPr/>
          <p:nvPr/>
        </p:nvCxnSpPr>
        <p:spPr>
          <a:xfrm>
            <a:off x="256803" y="251127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4" name="Google Shape;104;p3"/>
          <p:cNvCxnSpPr/>
          <p:nvPr/>
        </p:nvCxnSpPr>
        <p:spPr>
          <a:xfrm>
            <a:off x="256803" y="2190310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5" name="Google Shape;105;p3"/>
          <p:cNvCxnSpPr/>
          <p:nvPr/>
        </p:nvCxnSpPr>
        <p:spPr>
          <a:xfrm>
            <a:off x="256803" y="3153197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06" name="Google Shape;106;p3"/>
          <p:cNvCxnSpPr/>
          <p:nvPr/>
        </p:nvCxnSpPr>
        <p:spPr>
          <a:xfrm>
            <a:off x="7453167" y="1203898"/>
            <a:ext cx="47623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7" name="Google Shape;107;p3"/>
          <p:cNvSpPr txBox="1"/>
          <p:nvPr/>
        </p:nvSpPr>
        <p:spPr>
          <a:xfrm>
            <a:off x="7514314" y="1309065"/>
            <a:ext cx="379105" cy="16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2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3"/>
          <p:cNvSpPr txBox="1"/>
          <p:nvPr/>
        </p:nvSpPr>
        <p:spPr>
          <a:xfrm>
            <a:off x="7514314" y="162856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1.1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" name="Google Shape;109;p3"/>
          <p:cNvSpPr txBox="1"/>
          <p:nvPr/>
        </p:nvSpPr>
        <p:spPr>
          <a:xfrm>
            <a:off x="7514314" y="194807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0.9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" name="Google Shape;110;p3"/>
          <p:cNvSpPr txBox="1"/>
          <p:nvPr/>
        </p:nvSpPr>
        <p:spPr>
          <a:xfrm>
            <a:off x="7514314" y="226757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" name="Google Shape;111;p3"/>
          <p:cNvSpPr txBox="1"/>
          <p:nvPr/>
        </p:nvSpPr>
        <p:spPr>
          <a:xfrm>
            <a:off x="7514314" y="258707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3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3"/>
          <p:cNvSpPr txBox="1"/>
          <p:nvPr/>
        </p:nvSpPr>
        <p:spPr>
          <a:xfrm>
            <a:off x="7514314" y="290657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3"/>
          <p:cNvSpPr txBox="1"/>
          <p:nvPr/>
        </p:nvSpPr>
        <p:spPr>
          <a:xfrm>
            <a:off x="7514314" y="322608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6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" name="Google Shape;114;p3"/>
          <p:cNvSpPr txBox="1"/>
          <p:nvPr/>
        </p:nvSpPr>
        <p:spPr>
          <a:xfrm>
            <a:off x="7514314" y="354558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3"/>
          <p:cNvSpPr txBox="1"/>
          <p:nvPr/>
        </p:nvSpPr>
        <p:spPr>
          <a:xfrm>
            <a:off x="7514314" y="386508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9.8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" name="Google Shape;116;p3"/>
          <p:cNvSpPr txBox="1"/>
          <p:nvPr/>
        </p:nvSpPr>
        <p:spPr>
          <a:xfrm>
            <a:off x="7514314" y="4184588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4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3"/>
          <p:cNvSpPr txBox="1"/>
          <p:nvPr/>
        </p:nvSpPr>
        <p:spPr>
          <a:xfrm>
            <a:off x="7514314" y="450409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3"/>
          <p:cNvSpPr txBox="1"/>
          <p:nvPr/>
        </p:nvSpPr>
        <p:spPr>
          <a:xfrm>
            <a:off x="7514314" y="482359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3"/>
          <p:cNvSpPr txBox="1"/>
          <p:nvPr/>
        </p:nvSpPr>
        <p:spPr>
          <a:xfrm>
            <a:off x="7514314" y="514309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3"/>
          <p:cNvSpPr txBox="1"/>
          <p:nvPr/>
        </p:nvSpPr>
        <p:spPr>
          <a:xfrm>
            <a:off x="7514314" y="578210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4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3"/>
          <p:cNvSpPr txBox="1"/>
          <p:nvPr/>
        </p:nvSpPr>
        <p:spPr>
          <a:xfrm>
            <a:off x="7453167" y="1011902"/>
            <a:ext cx="476230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075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2" name="Google Shape;122;p3"/>
          <p:cNvCxnSpPr/>
          <p:nvPr/>
        </p:nvCxnSpPr>
        <p:spPr>
          <a:xfrm>
            <a:off x="8031231" y="1203898"/>
            <a:ext cx="47623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3" name="Google Shape;123;p3"/>
          <p:cNvSpPr txBox="1"/>
          <p:nvPr/>
        </p:nvSpPr>
        <p:spPr>
          <a:xfrm>
            <a:off x="8097026" y="130906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3"/>
          <p:cNvSpPr txBox="1"/>
          <p:nvPr/>
        </p:nvSpPr>
        <p:spPr>
          <a:xfrm>
            <a:off x="8097026" y="162856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3"/>
          <p:cNvSpPr txBox="1"/>
          <p:nvPr/>
        </p:nvSpPr>
        <p:spPr>
          <a:xfrm>
            <a:off x="8097026" y="194807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1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3"/>
          <p:cNvSpPr txBox="1"/>
          <p:nvPr/>
        </p:nvSpPr>
        <p:spPr>
          <a:xfrm>
            <a:off x="8097026" y="226757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" name="Google Shape;127;p3"/>
          <p:cNvSpPr txBox="1"/>
          <p:nvPr/>
        </p:nvSpPr>
        <p:spPr>
          <a:xfrm>
            <a:off x="8097026" y="258707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" name="Google Shape;128;p3"/>
          <p:cNvSpPr txBox="1"/>
          <p:nvPr/>
        </p:nvSpPr>
        <p:spPr>
          <a:xfrm>
            <a:off x="8097026" y="2906577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3"/>
          <p:cNvSpPr txBox="1"/>
          <p:nvPr/>
        </p:nvSpPr>
        <p:spPr>
          <a:xfrm>
            <a:off x="8097026" y="322608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0.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3"/>
          <p:cNvSpPr txBox="1"/>
          <p:nvPr/>
        </p:nvSpPr>
        <p:spPr>
          <a:xfrm>
            <a:off x="8097026" y="354558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3"/>
          <p:cNvSpPr txBox="1"/>
          <p:nvPr/>
        </p:nvSpPr>
        <p:spPr>
          <a:xfrm>
            <a:off x="8097026" y="386508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9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" name="Google Shape;132;p3"/>
          <p:cNvSpPr txBox="1"/>
          <p:nvPr/>
        </p:nvSpPr>
        <p:spPr>
          <a:xfrm>
            <a:off x="8097026" y="4184588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2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3"/>
          <p:cNvSpPr txBox="1"/>
          <p:nvPr/>
        </p:nvSpPr>
        <p:spPr>
          <a:xfrm>
            <a:off x="8097026" y="450409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3"/>
          <p:cNvSpPr txBox="1"/>
          <p:nvPr/>
        </p:nvSpPr>
        <p:spPr>
          <a:xfrm>
            <a:off x="8097026" y="4823592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.0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" name="Google Shape;135;p3"/>
          <p:cNvSpPr txBox="1"/>
          <p:nvPr/>
        </p:nvSpPr>
        <p:spPr>
          <a:xfrm>
            <a:off x="8097026" y="5143095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8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" name="Google Shape;136;p3"/>
          <p:cNvSpPr txBox="1"/>
          <p:nvPr/>
        </p:nvSpPr>
        <p:spPr>
          <a:xfrm>
            <a:off x="8097026" y="5782100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1.6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3"/>
          <p:cNvSpPr txBox="1"/>
          <p:nvPr/>
        </p:nvSpPr>
        <p:spPr>
          <a:xfrm>
            <a:off x="8031231" y="1011902"/>
            <a:ext cx="476230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Budget</a:t>
            </a:r>
            <a:endParaRPr sz="1075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38" name="Google Shape;138;p3"/>
          <p:cNvCxnSpPr/>
          <p:nvPr/>
        </p:nvCxnSpPr>
        <p:spPr>
          <a:xfrm>
            <a:off x="256803" y="507897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39" name="Google Shape;139;p3"/>
          <p:cNvCxnSpPr/>
          <p:nvPr/>
        </p:nvCxnSpPr>
        <p:spPr>
          <a:xfrm>
            <a:off x="256803" y="5399934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40" name="Google Shape;140;p3"/>
          <p:cNvCxnSpPr/>
          <p:nvPr/>
        </p:nvCxnSpPr>
        <p:spPr>
          <a:xfrm>
            <a:off x="4447120" y="6043573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1" name="Google Shape;141;p3"/>
          <p:cNvCxnSpPr/>
          <p:nvPr/>
        </p:nvCxnSpPr>
        <p:spPr>
          <a:xfrm>
            <a:off x="4754297" y="4098123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2" name="Google Shape;142;p3"/>
          <p:cNvCxnSpPr/>
          <p:nvPr/>
        </p:nvCxnSpPr>
        <p:spPr>
          <a:xfrm>
            <a:off x="5927152" y="1836188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cxnSp>
        <p:nvCxnSpPr>
          <p:cNvPr id="143" name="Google Shape;143;p3"/>
          <p:cNvCxnSpPr/>
          <p:nvPr/>
        </p:nvCxnSpPr>
        <p:spPr>
          <a:xfrm>
            <a:off x="5554817" y="2152672"/>
            <a:ext cx="0" cy="93084"/>
          </a:xfrm>
          <a:prstGeom prst="straightConnector1">
            <a:avLst/>
          </a:prstGeom>
          <a:noFill/>
          <a:ln w="9525" cap="flat" cmpd="sng">
            <a:solidFill>
              <a:srgbClr val="808080"/>
            </a:solidFill>
            <a:prstDash val="lgDash"/>
            <a:round/>
            <a:headEnd type="none" w="sm" len="sm"/>
            <a:tailEnd type="none" w="sm" len="sm"/>
          </a:ln>
        </p:spPr>
      </p:cxnSp>
      <p:sp>
        <p:nvSpPr>
          <p:cNvPr id="144" name="Google Shape;144;p3"/>
          <p:cNvSpPr/>
          <p:nvPr/>
        </p:nvSpPr>
        <p:spPr>
          <a:xfrm>
            <a:off x="3528695" y="4876924"/>
            <a:ext cx="85637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3"/>
          <p:cNvSpPr/>
          <p:nvPr/>
        </p:nvSpPr>
        <p:spPr>
          <a:xfrm>
            <a:off x="3018454" y="3583050"/>
            <a:ext cx="13668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C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3"/>
          <p:cNvSpPr/>
          <p:nvPr/>
        </p:nvSpPr>
        <p:spPr>
          <a:xfrm>
            <a:off x="3225808" y="3257275"/>
            <a:ext cx="11592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B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3"/>
          <p:cNvSpPr/>
          <p:nvPr/>
        </p:nvSpPr>
        <p:spPr>
          <a:xfrm>
            <a:off x="2480401" y="2931475"/>
            <a:ext cx="19047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Production Cost A</a:t>
            </a:r>
            <a:endParaRPr sz="1075" b="0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3"/>
          <p:cNvSpPr/>
          <p:nvPr/>
        </p:nvSpPr>
        <p:spPr>
          <a:xfrm>
            <a:off x="2770107" y="2605675"/>
            <a:ext cx="1614900" cy="1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3"/>
          <p:cNvSpPr/>
          <p:nvPr/>
        </p:nvSpPr>
        <p:spPr>
          <a:xfrm>
            <a:off x="2172776" y="2279887"/>
            <a:ext cx="221229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3"/>
          <p:cNvSpPr/>
          <p:nvPr/>
        </p:nvSpPr>
        <p:spPr>
          <a:xfrm>
            <a:off x="2900380" y="1958749"/>
            <a:ext cx="148468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3"/>
          <p:cNvSpPr/>
          <p:nvPr/>
        </p:nvSpPr>
        <p:spPr>
          <a:xfrm>
            <a:off x="3544210" y="4551130"/>
            <a:ext cx="84085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3"/>
          <p:cNvSpPr/>
          <p:nvPr/>
        </p:nvSpPr>
        <p:spPr>
          <a:xfrm>
            <a:off x="3094303" y="4225337"/>
            <a:ext cx="1290762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3"/>
          <p:cNvSpPr/>
          <p:nvPr/>
        </p:nvSpPr>
        <p:spPr>
          <a:xfrm>
            <a:off x="3018286" y="3904199"/>
            <a:ext cx="136678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3"/>
          <p:cNvSpPr/>
          <p:nvPr/>
        </p:nvSpPr>
        <p:spPr>
          <a:xfrm>
            <a:off x="3884740" y="6141807"/>
            <a:ext cx="510410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¹EBI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p3"/>
          <p:cNvSpPr/>
          <p:nvPr/>
        </p:nvSpPr>
        <p:spPr>
          <a:xfrm>
            <a:off x="2877108" y="5202717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3"/>
          <p:cNvSpPr/>
          <p:nvPr/>
        </p:nvSpPr>
        <p:spPr>
          <a:xfrm>
            <a:off x="2622679" y="1637609"/>
            <a:ext cx="1762386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p3"/>
          <p:cNvSpPr/>
          <p:nvPr/>
        </p:nvSpPr>
        <p:spPr>
          <a:xfrm>
            <a:off x="2770063" y="1311816"/>
            <a:ext cx="1615003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Revenue Source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3"/>
          <p:cNvSpPr/>
          <p:nvPr/>
        </p:nvSpPr>
        <p:spPr>
          <a:xfrm>
            <a:off x="252613" y="1287886"/>
            <a:ext cx="1285678" cy="1531887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venu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3"/>
          <p:cNvSpPr/>
          <p:nvPr/>
        </p:nvSpPr>
        <p:spPr>
          <a:xfrm>
            <a:off x="252612" y="2842248"/>
            <a:ext cx="1285678" cy="939305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G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(Production Cost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0" name="Google Shape;160;p3"/>
          <p:cNvSpPr/>
          <p:nvPr/>
        </p:nvSpPr>
        <p:spPr>
          <a:xfrm>
            <a:off x="252611" y="3815147"/>
            <a:ext cx="1285678" cy="2194293"/>
          </a:xfrm>
          <a:prstGeom prst="rect">
            <a:avLst/>
          </a:prstGeom>
          <a:solidFill>
            <a:srgbClr val="2FBE96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1775" tIns="71775" rIns="71775" bIns="717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73"/>
              <a:buFont typeface="Arial"/>
              <a:buNone/>
            </a:pPr>
            <a:r>
              <a:rPr lang="en-US" sz="117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perational Expenses (Overhead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1" name="Google Shape;161;p3"/>
          <p:cNvCxnSpPr/>
          <p:nvPr/>
        </p:nvCxnSpPr>
        <p:spPr>
          <a:xfrm>
            <a:off x="256803" y="2832235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2" name="Google Shape;162;p3"/>
          <p:cNvCxnSpPr/>
          <p:nvPr/>
        </p:nvCxnSpPr>
        <p:spPr>
          <a:xfrm>
            <a:off x="256803" y="3795122"/>
            <a:ext cx="8250660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3" name="Google Shape;163;p3"/>
          <p:cNvSpPr/>
          <p:nvPr/>
        </p:nvSpPr>
        <p:spPr>
          <a:xfrm>
            <a:off x="187335" y="6486306"/>
            <a:ext cx="6887502" cy="105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59212" marR="0" lvl="0" indent="-45921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84"/>
              <a:buFont typeface="Arial"/>
              <a:buNone/>
            </a:pPr>
            <a:r>
              <a:rPr lang="en-US" sz="684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¹ EBIT is calculated as Revenues – COGS – Operational Expens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p3"/>
          <p:cNvSpPr/>
          <p:nvPr/>
        </p:nvSpPr>
        <p:spPr>
          <a:xfrm>
            <a:off x="2888744" y="5485182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F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65" name="Google Shape;165;p3"/>
          <p:cNvGraphicFramePr/>
          <p:nvPr/>
        </p:nvGraphicFramePr>
        <p:xfrm>
          <a:off x="4754297" y="1202188"/>
          <a:ext cx="2556412" cy="1640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6" name="Google Shape;166;p3"/>
          <p:cNvSpPr/>
          <p:nvPr/>
        </p:nvSpPr>
        <p:spPr>
          <a:xfrm>
            <a:off x="2889932" y="5759558"/>
            <a:ext cx="1507957" cy="164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Overhead G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3"/>
          <p:cNvSpPr txBox="1"/>
          <p:nvPr/>
        </p:nvSpPr>
        <p:spPr>
          <a:xfrm>
            <a:off x="7514314" y="612093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45.0</a:t>
            </a:r>
            <a:endParaRPr sz="1075" b="1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3"/>
          <p:cNvSpPr txBox="1"/>
          <p:nvPr/>
        </p:nvSpPr>
        <p:spPr>
          <a:xfrm>
            <a:off x="8097026" y="612093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1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53.5</a:t>
            </a:r>
            <a:endParaRPr sz="1075" b="1" i="0" u="none" strike="noStrike" cap="none">
              <a:solidFill>
                <a:srgbClr val="002C4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"/>
          <p:cNvSpPr txBox="1"/>
          <p:nvPr/>
        </p:nvSpPr>
        <p:spPr>
          <a:xfrm>
            <a:off x="7519626" y="546100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2.9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3"/>
          <p:cNvSpPr txBox="1"/>
          <p:nvPr/>
        </p:nvSpPr>
        <p:spPr>
          <a:xfrm>
            <a:off x="8102337" y="5461003"/>
            <a:ext cx="379105" cy="1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5"/>
              <a:buFont typeface="Arial"/>
              <a:buNone/>
            </a:pPr>
            <a:r>
              <a:rPr lang="en-US" sz="1075" b="0" i="0" u="none" strike="noStrike" cap="none">
                <a:solidFill>
                  <a:srgbClr val="002C46"/>
                </a:solidFill>
                <a:latin typeface="Arial"/>
                <a:ea typeface="Arial"/>
                <a:cs typeface="Arial"/>
                <a:sym typeface="Arial"/>
              </a:rPr>
              <a:t>3.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71" name="Google Shape;171;p3"/>
          <p:cNvGraphicFramePr/>
          <p:nvPr/>
        </p:nvGraphicFramePr>
        <p:xfrm>
          <a:off x="5828627" y="2843545"/>
          <a:ext cx="1465533" cy="966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2" name="Google Shape;172;p3"/>
          <p:cNvGraphicFramePr/>
          <p:nvPr/>
        </p:nvGraphicFramePr>
        <p:xfrm>
          <a:off x="5241615" y="3747508"/>
          <a:ext cx="2557891" cy="2635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What is happening with EBIT? Are there any particularly large fluctuations which the executives should focus on?&gt;</a:t>
            </a:r>
            <a:endParaRPr sz="1600" b="1" i="0" u="none" strike="noStrike" cap="none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p3"/>
          <p:cNvSpPr txBox="1"/>
          <p:nvPr/>
        </p:nvSpPr>
        <p:spPr>
          <a:xfrm>
            <a:off x="1549200" y="4419125"/>
            <a:ext cx="4305300" cy="1396500"/>
          </a:xfrm>
          <a:prstGeom prst="rect">
            <a:avLst/>
          </a:prstGeom>
          <a:solidFill>
            <a:srgbClr val="FBC14E">
              <a:alpha val="6154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EBIT</a:t>
            </a:r>
            <a:r>
              <a:rPr lang="en-US" sz="1100"/>
              <a:t> slide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EBIT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EBIT Template, highlight the overall Revenue, COGS and Operational Expenses Variances comparing 2013-2014 Actuals vs 2014-2015 Forecast</a:t>
            </a:r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5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5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Revenue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81" name="Google Shape;181;p5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What is happening with Revenues? Are there any particularly large fluctuations </a:t>
            </a:r>
            <a:r>
              <a:rPr lang="en-US" sz="1600">
                <a:solidFill>
                  <a:srgbClr val="002060"/>
                </a:solidFill>
              </a:rPr>
              <a:t>that</a:t>
            </a: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the executives should focus on?&gt;</a:t>
            </a:r>
            <a:endParaRPr sz="1600" b="1" i="0" u="none" strike="noStrike" cap="none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p5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5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5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5"/>
          <p:cNvSpPr txBox="1"/>
          <p:nvPr/>
        </p:nvSpPr>
        <p:spPr>
          <a:xfrm>
            <a:off x="4935550" y="3833625"/>
            <a:ext cx="3598500" cy="2232300"/>
          </a:xfrm>
          <a:prstGeom prst="rect">
            <a:avLst/>
          </a:prstGeom>
          <a:solidFill>
            <a:srgbClr val="FBC14E">
              <a:alpha val="4846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Revenue </a:t>
            </a:r>
            <a:r>
              <a:rPr lang="en-US" sz="1100"/>
              <a:t>slide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Revenue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Revenue figures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Revenue</a:t>
            </a:r>
            <a:endParaRPr sz="11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"/>
          <p:cNvSpPr/>
          <p:nvPr/>
        </p:nvSpPr>
        <p:spPr>
          <a:xfrm>
            <a:off x="86345" y="1156770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6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COG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94" name="Google Shape;194;p6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5" name="Google Shape;195;p6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What is happening with COGS? Are there any particularly large fluctuations </a:t>
            </a:r>
            <a:r>
              <a:rPr lang="en-US" sz="1600">
                <a:solidFill>
                  <a:srgbClr val="002060"/>
                </a:solidFill>
              </a:rPr>
              <a:t>that</a:t>
            </a: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the executives should focus on?&gt;</a:t>
            </a:r>
            <a:endParaRPr sz="1600" b="1" i="0" u="none" strike="noStrike" cap="none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6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6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p6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p6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6"/>
          <p:cNvSpPr txBox="1"/>
          <p:nvPr/>
        </p:nvSpPr>
        <p:spPr>
          <a:xfrm>
            <a:off x="5144225" y="3469975"/>
            <a:ext cx="3320100" cy="2609100"/>
          </a:xfrm>
          <a:prstGeom prst="rect">
            <a:avLst/>
          </a:prstGeom>
          <a:solidFill>
            <a:srgbClr val="FBC14E">
              <a:alpha val="4692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COGS</a:t>
            </a:r>
            <a:r>
              <a:rPr lang="en-US" sz="1100"/>
              <a:t> 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COGS situation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COGS figures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COGS</a:t>
            </a:r>
            <a:br>
              <a:rPr lang="en-US" sz="1100"/>
            </a:b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7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Operational Expense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07" name="Google Shape;207;p7"/>
          <p:cNvGraphicFramePr/>
          <p:nvPr/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8" name="Google Shape;208;p7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&lt;What is happening with Operational Expenses? Are there any particularly large fluctuations </a:t>
            </a:r>
            <a:r>
              <a:rPr lang="en-US" sz="1600">
                <a:solidFill>
                  <a:srgbClr val="002060"/>
                </a:solidFill>
              </a:rPr>
              <a:t>that</a:t>
            </a:r>
            <a:r>
              <a:rPr lang="en-US" sz="16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the executives should focus on?&gt;</a:t>
            </a:r>
            <a:endParaRPr sz="1600" b="1" i="0" u="none" strike="noStrike" cap="none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7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7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7"/>
          <p:cNvSpPr txBox="1"/>
          <p:nvPr/>
        </p:nvSpPr>
        <p:spPr>
          <a:xfrm>
            <a:off x="5464366" y="1624059"/>
            <a:ext cx="2963538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A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B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sight C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nt: </a:t>
            </a:r>
            <a:r>
              <a:rPr lang="en-US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e there any specific unit-abnormalities which should be called out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7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p7"/>
          <p:cNvSpPr txBox="1"/>
          <p:nvPr/>
        </p:nvSpPr>
        <p:spPr>
          <a:xfrm>
            <a:off x="5144125" y="3615750"/>
            <a:ext cx="3320100" cy="2424600"/>
          </a:xfrm>
          <a:prstGeom prst="rect">
            <a:avLst/>
          </a:prstGeom>
          <a:solidFill>
            <a:srgbClr val="FBC14E">
              <a:alpha val="461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Operating Expenses situation </a:t>
            </a:r>
            <a:r>
              <a:rPr lang="en-US" sz="1100"/>
              <a:t>shows the comparison between 2013-2014 Actuals vs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Create a headline highlighting the Overall Operating Expenses when comparing 2013-14 Actuals vs. the 2014-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Using the Revenue Template, highlight the Overall Operating Expenses  comparing 2013-2014 Actuals vs. the 2014-2015 Forecast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/>
              <a:t>Include two to three insights explaining the discrepancy between Actuals and Forecast for Overall Expenses</a:t>
            </a:r>
            <a:endParaRPr sz="11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Google Shape;219;p4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219" name="Google Shape;219;p4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Google Shape;220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/>
              <a:t>&lt;When you break the YTD Variances down further and convert this to a $/ML figure does anything become apparent?&gt; </a:t>
            </a:r>
            <a:endParaRPr/>
          </a:p>
        </p:txBody>
      </p:sp>
      <p:pic>
        <p:nvPicPr>
          <p:cNvPr id="221" name="Google Shape;221;p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652044" y="1309654"/>
            <a:ext cx="1657350" cy="2476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22" name="Google Shape;222;p4"/>
          <p:cNvGraphicFramePr/>
          <p:nvPr/>
        </p:nvGraphicFramePr>
        <p:xfrm>
          <a:off x="88135" y="958467"/>
          <a:ext cx="8873304" cy="5089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3" name="Google Shape;223;p4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4"/>
          <p:cNvSpPr txBox="1"/>
          <p:nvPr/>
        </p:nvSpPr>
        <p:spPr>
          <a:xfrm>
            <a:off x="4395300" y="3785850"/>
            <a:ext cx="4566300" cy="1869000"/>
          </a:xfrm>
          <a:prstGeom prst="rect">
            <a:avLst/>
          </a:prstGeom>
          <a:solidFill>
            <a:srgbClr val="FBC14E">
              <a:alpha val="4077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verall Variance via a Stacked Column Chart </a:t>
            </a:r>
            <a:r>
              <a:rPr lang="en-US" sz="1100"/>
              <a:t>which highlights the difference between 2013-2014 Actuals versus the variance between 2014-2015 Forecast (i.e. Take the 2014-2015 Forecast $/ML and subtract this from the 2013-2014 Actuals $/ML).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/>
              <a:t>Create a headline highlighting the Overall variance situation when comparing 2013-14 Actuals vs. the 2014-2015 Forecast </a:t>
            </a:r>
            <a:endParaRPr sz="110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100"/>
              <a:t>Using the Variance Template, highlight the Overall Variances comparing 2013-2014 Actuals on a $/ML basis versus the 2014-2015 Forecast on a $/ML Basis</a:t>
            </a:r>
            <a:endParaRPr b="1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27</TotalTime>
  <Words>1133</Words>
  <Application>Microsoft Office PowerPoint</Application>
  <PresentationFormat>Custom</PresentationFormat>
  <Paragraphs>16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Southern Water Corp – Executive Presentation</vt:lpstr>
      <vt:lpstr>&lt;What is noticeable about last year’s Cost-to-Produce vs. this year’s Cost-to-Produce? What does it say about company performance? How might this relate to EBIT?&gt;</vt:lpstr>
      <vt:lpstr>&lt;Observing the cost-curve reveals that Units A through…&gt; Are there any differences between unit-economics when comparing 2013 data to 2014 data?</vt:lpstr>
      <vt:lpstr>&lt;What is happening with EBIT? Are there any particularly large fluctuations which the executives should focus on?&gt;</vt:lpstr>
      <vt:lpstr>&lt;What is happening with Revenues? Are there any particularly large fluctuations that the executives should focus on?&gt;</vt:lpstr>
      <vt:lpstr>&lt;What is happening with COGS? Are there any particularly large fluctuations that the executives should focus on?&gt;</vt:lpstr>
      <vt:lpstr>&lt;What is happening with Operational Expenses? Are there any particularly large fluctuations that the executives should focus on?&gt;</vt:lpstr>
      <vt:lpstr>&lt;When you break the YTD Variances down further and convert this to a $/ML figure does anything become apparent?&gt;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Bansal, Sonal (Cognizant)</cp:lastModifiedBy>
  <cp:revision>3</cp:revision>
  <dcterms:created xsi:type="dcterms:W3CDTF">2015-09-14T11:37:31Z</dcterms:created>
  <dcterms:modified xsi:type="dcterms:W3CDTF">2020-05-04T03:5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